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6"/>
  </p:notesMasterIdLst>
  <p:sldIdLst>
    <p:sldId id="913" r:id="rId3"/>
    <p:sldId id="908" r:id="rId4"/>
    <p:sldId id="501" r:id="rId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B1C"/>
    <a:srgbClr val="F9F9FB"/>
    <a:srgbClr val="4472C4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74" y="-1529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CE0AF-7C6B-44B2-BE48-70B30A68DE8E}" type="datetime1">
              <a:rPr lang="nl-NL" smtClean="0">
                <a:solidFill>
                  <a:srgbClr val="808285"/>
                </a:solidFill>
              </a:rPr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0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0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8"/>
            <a:ext cx="645361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38"/>
            <a:ext cx="2106612" cy="1354138"/>
            <a:chOff x="-2231300" y="2231625"/>
            <a:chExt cx="2106943" cy="1353870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696" y="2322792"/>
            <a:ext cx="1871662" cy="2769989"/>
            <a:chOff x="-2008947" y="2420888"/>
            <a:chExt cx="1871662" cy="2769989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2769989"/>
              <a:chOff x="9231313" y="2327275"/>
              <a:chExt cx="1871662" cy="2769989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769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6827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4" r:id="rId12"/>
    <p:sldLayoutId id="2147483738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tmp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jpeg"/><Relationship Id="rId19" Type="http://schemas.openxmlformats.org/officeDocument/2006/relationships/image" Target="../media/image42.png"/><Relationship Id="rId4" Type="http://schemas.openxmlformats.org/officeDocument/2006/relationships/image" Target="../media/image27.png"/><Relationship Id="rId9" Type="http://schemas.openxmlformats.org/officeDocument/2006/relationships/image" Target="../media/image32.jpe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 err="1"/>
              <a:t>Milkrun</a:t>
            </a:r>
            <a:r>
              <a:rPr lang="nl-NL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8039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5845E-F75A-4DC1-BE2A-FAACBE9FC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-21965"/>
            <a:ext cx="10515600" cy="1325563"/>
          </a:xfrm>
        </p:spPr>
        <p:txBody>
          <a:bodyPr/>
          <a:lstStyle/>
          <a:p>
            <a:r>
              <a:rPr lang="nl-NL" dirty="0" err="1"/>
              <a:t>Milkrun</a:t>
            </a:r>
            <a:endParaRPr lang="nl-NL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785CECE6-969A-4AAB-B6AC-7144E358A7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4050" y="1420869"/>
            <a:ext cx="7098133" cy="468000"/>
          </a:xfrm>
        </p:spPr>
        <p:txBody>
          <a:bodyPr>
            <a:normAutofit lnSpcReduction="10000"/>
          </a:bodyPr>
          <a:lstStyle/>
          <a:p>
            <a:r>
              <a:rPr lang="nl-NL" dirty="0"/>
              <a:t>Flexibel en schaalbaar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CBAD526-FA67-4F2D-8B9E-A18F937F5C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4050" y="1905130"/>
            <a:ext cx="7098135" cy="504000"/>
          </a:xfrm>
        </p:spPr>
        <p:txBody>
          <a:bodyPr>
            <a:normAutofit lnSpcReduction="10000"/>
          </a:bodyPr>
          <a:lstStyle/>
          <a:p>
            <a:r>
              <a:rPr lang="nl-NL" dirty="0"/>
              <a:t>Waterstof tankwagen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9BD0512-1F86-434A-BC5F-4B5ED5A8B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4894" y="2745971"/>
            <a:ext cx="5939685" cy="3071812"/>
          </a:xfrm>
        </p:spPr>
        <p:txBody>
          <a:bodyPr/>
          <a:lstStyle/>
          <a:p>
            <a:r>
              <a:rPr lang="nl-NL" sz="2000" dirty="0"/>
              <a:t>Thuisbezorging: Op locatie gebruiker tanken. Bijvoorbeeld:</a:t>
            </a:r>
          </a:p>
          <a:p>
            <a:pPr lvl="1"/>
            <a:r>
              <a:rPr lang="nl-NL" sz="2000" dirty="0"/>
              <a:t>Distributiecentra.</a:t>
            </a:r>
          </a:p>
          <a:p>
            <a:pPr lvl="1"/>
            <a:r>
              <a:rPr lang="nl-NL" sz="2000" dirty="0"/>
              <a:t>Wegenbouw in remote </a:t>
            </a:r>
            <a:r>
              <a:rPr lang="nl-NL" sz="2000" dirty="0" err="1"/>
              <a:t>areas</a:t>
            </a:r>
            <a:r>
              <a:rPr lang="nl-NL" sz="2000" dirty="0"/>
              <a:t>.</a:t>
            </a:r>
          </a:p>
          <a:p>
            <a:pPr lvl="1"/>
            <a:r>
              <a:rPr lang="nl-NL" sz="2000" dirty="0"/>
              <a:t>Pech onder weg</a:t>
            </a:r>
          </a:p>
          <a:p>
            <a:pPr lvl="1"/>
            <a:r>
              <a:rPr lang="nl-NL" sz="2000" dirty="0"/>
              <a:t>Convenience</a:t>
            </a:r>
          </a:p>
          <a:p>
            <a:pPr lvl="1"/>
            <a:r>
              <a:rPr lang="nl-NL" sz="2000" dirty="0"/>
              <a:t>…</a:t>
            </a:r>
          </a:p>
          <a:p>
            <a:r>
              <a:rPr lang="nl-NL" sz="2000" b="1" dirty="0">
                <a:solidFill>
                  <a:srgbClr val="C00000"/>
                </a:solidFill>
              </a:rPr>
              <a:t>Om de transitie te versnellen</a:t>
            </a:r>
            <a:r>
              <a:rPr lang="nl-NL" sz="2000" b="1" dirty="0"/>
              <a:t>.</a:t>
            </a:r>
          </a:p>
        </p:txBody>
      </p:sp>
      <p:pic>
        <p:nvPicPr>
          <p:cNvPr id="25" name="Tijdelijke aanduiding voor afbeelding 24">
            <a:extLst>
              <a:ext uri="{FF2B5EF4-FFF2-40B4-BE49-F238E27FC236}">
                <a16:creationId xmlns:a16="http://schemas.microsoft.com/office/drawing/2014/main" id="{E0BA3247-8A0F-4224-A01B-4FCAA56C122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41" b="6141"/>
          <a:stretch>
            <a:fillRect/>
          </a:stretch>
        </p:blipFill>
        <p:spPr>
          <a:xfrm>
            <a:off x="6096001" y="328764"/>
            <a:ext cx="5946062" cy="28533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Tijdelijke aanduiding voor afbeelding 30">
            <a:extLst>
              <a:ext uri="{FF2B5EF4-FFF2-40B4-BE49-F238E27FC236}">
                <a16:creationId xmlns:a16="http://schemas.microsoft.com/office/drawing/2014/main" id="{00B1A29D-9DCF-4069-B579-ECB992D71D7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48" b="7248"/>
          <a:stretch>
            <a:fillRect/>
          </a:stretch>
        </p:blipFill>
        <p:spPr>
          <a:xfrm>
            <a:off x="6096000" y="3610305"/>
            <a:ext cx="5931458" cy="28533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66506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E4080187-EA53-436C-A668-1734B7EE13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59" b="14772"/>
          <a:stretch/>
        </p:blipFill>
        <p:spPr>
          <a:xfrm flipH="1">
            <a:off x="1518983" y="1076575"/>
            <a:ext cx="9588501" cy="4704850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A32D44C7-B4EE-42C4-BA3B-A8CAD1E767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4063" y="2659247"/>
            <a:ext cx="1027660" cy="769753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30ACDF25-A093-4B03-96B0-9640274C19F4}"/>
              </a:ext>
            </a:extLst>
          </p:cNvPr>
          <p:cNvSpPr txBox="1"/>
          <p:nvPr/>
        </p:nvSpPr>
        <p:spPr>
          <a:xfrm>
            <a:off x="5826656" y="2874846"/>
            <a:ext cx="28176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2000" dirty="0">
                <a:solidFill>
                  <a:schemeClr val="tx2"/>
                </a:solidFill>
                <a:latin typeface="Impact" panose="020B0806030902050204" pitchFamily="34" charset="0"/>
              </a:rPr>
              <a:t>Mobile </a:t>
            </a:r>
            <a:r>
              <a:rPr lang="nl-NL" sz="2000" dirty="0" err="1">
                <a:solidFill>
                  <a:schemeClr val="tx2"/>
                </a:solidFill>
                <a:latin typeface="Impact" panose="020B0806030902050204" pitchFamily="34" charset="0"/>
              </a:rPr>
              <a:t>Refueling</a:t>
            </a:r>
            <a:r>
              <a:rPr lang="nl-NL" sz="2000" dirty="0">
                <a:solidFill>
                  <a:schemeClr val="tx2"/>
                </a:solidFill>
                <a:latin typeface="Impact" panose="020B0806030902050204" pitchFamily="34" charset="0"/>
              </a:rPr>
              <a:t> Station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A44754D-D77A-4856-A92A-CCC85584A3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8805" y="1658303"/>
            <a:ext cx="1081822" cy="50812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01E4642-065F-4857-9D2D-C3CFD28FD9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8537" y="1607957"/>
            <a:ext cx="1149977" cy="508129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C297E057-D04B-4CED-BF12-8EE77FDE96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2864" y="1683914"/>
            <a:ext cx="826939" cy="327180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B5A933D8-A76A-4827-8177-CAB63E597B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8475" y="3864271"/>
            <a:ext cx="646760" cy="484446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D8274C57-0285-4C52-809D-C5473C3506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51740" y="1575170"/>
            <a:ext cx="718211" cy="644817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8AC5DDF9-5E14-459A-A430-C2EF016494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9549" y="1688915"/>
            <a:ext cx="1053939" cy="362407"/>
          </a:xfrm>
          <a:prstGeom prst="rect">
            <a:avLst/>
          </a:prstGeom>
        </p:spPr>
      </p:pic>
      <p:pic>
        <p:nvPicPr>
          <p:cNvPr id="6146" name="Picture 2" descr="Image result for acv ede">
            <a:extLst>
              <a:ext uri="{FF2B5EF4-FFF2-40B4-BE49-F238E27FC236}">
                <a16:creationId xmlns:a16="http://schemas.microsoft.com/office/drawing/2014/main" id="{E9B7BFD2-FDA1-44D7-B435-90EA374C3F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855" y="1575170"/>
            <a:ext cx="602769" cy="602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logo provincie gelderland">
            <a:extLst>
              <a:ext uri="{FF2B5EF4-FFF2-40B4-BE49-F238E27FC236}">
                <a16:creationId xmlns:a16="http://schemas.microsoft.com/office/drawing/2014/main" id="{D291AA3B-4CFA-404D-810E-EA508B28C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2052" y="2945876"/>
            <a:ext cx="1149977" cy="526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logo gemeente Ede">
            <a:extLst>
              <a:ext uri="{FF2B5EF4-FFF2-40B4-BE49-F238E27FC236}">
                <a16:creationId xmlns:a16="http://schemas.microsoft.com/office/drawing/2014/main" id="{A67F7892-1211-4812-A991-BE17881DB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869" y="3013796"/>
            <a:ext cx="417985" cy="397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logo shell">
            <a:extLst>
              <a:ext uri="{FF2B5EF4-FFF2-40B4-BE49-F238E27FC236}">
                <a16:creationId xmlns:a16="http://schemas.microsoft.com/office/drawing/2014/main" id="{EA97A683-D22C-4351-818A-23B37085D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596" y="4156996"/>
            <a:ext cx="253581" cy="235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13D0C0B8-5A9B-4FC0-A91A-493F6B0F207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52566" y="2471862"/>
            <a:ext cx="461032" cy="913566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43650D51-69EC-4337-AEAB-FD6515D198E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57963" y="4128399"/>
            <a:ext cx="805999" cy="30390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4AF8E35-7002-4BB8-BAE0-A296D32A7CC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84598" y="4138708"/>
            <a:ext cx="547917" cy="257254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184AF0C3-6A0C-4F64-80F8-E7900AF8002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92565" y="4176872"/>
            <a:ext cx="806000" cy="220602"/>
          </a:xfrm>
          <a:prstGeom prst="rect">
            <a:avLst/>
          </a:prstGeom>
        </p:spPr>
      </p:pic>
      <p:pic>
        <p:nvPicPr>
          <p:cNvPr id="6154" name="Picture 10" descr="Image result for toyota logo">
            <a:extLst>
              <a:ext uri="{FF2B5EF4-FFF2-40B4-BE49-F238E27FC236}">
                <a16:creationId xmlns:a16="http://schemas.microsoft.com/office/drawing/2014/main" id="{E5915DC3-EF09-4678-9DE1-D8E9849A4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524" y="4225629"/>
            <a:ext cx="596942" cy="109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id="{FD86F453-1D09-4BF0-B623-E84964D926F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324694" y="4193756"/>
            <a:ext cx="737054" cy="179912"/>
          </a:xfrm>
          <a:prstGeom prst="rect">
            <a:avLst/>
          </a:prstGeom>
        </p:spPr>
      </p:pic>
      <p:pic>
        <p:nvPicPr>
          <p:cNvPr id="28" name="Afbeelding 27">
            <a:extLst>
              <a:ext uri="{FF2B5EF4-FFF2-40B4-BE49-F238E27FC236}">
                <a16:creationId xmlns:a16="http://schemas.microsoft.com/office/drawing/2014/main" id="{27BDAF8E-9B84-4E84-965C-49BE33ECA17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347597" y="3946587"/>
            <a:ext cx="677021" cy="451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989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8</TotalTime>
  <Words>38</Words>
  <Application>Microsoft Macintosh PowerPoint</Application>
  <PresentationFormat>Breedbeeld</PresentationFormat>
  <Paragraphs>14</Paragraphs>
  <Slides>3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HelveticaNeueLT Std Lt Cn</vt:lpstr>
      <vt:lpstr>Impact</vt:lpstr>
      <vt:lpstr>Wingdings 2</vt:lpstr>
      <vt:lpstr>Office Theme</vt:lpstr>
      <vt:lpstr>6_Blank</vt:lpstr>
      <vt:lpstr>think-cell Slide</vt:lpstr>
      <vt:lpstr>PowerPoint-presentatie</vt:lpstr>
      <vt:lpstr>Milkrun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9</cp:revision>
  <dcterms:created xsi:type="dcterms:W3CDTF">2019-02-24T15:05:00Z</dcterms:created>
  <dcterms:modified xsi:type="dcterms:W3CDTF">2019-04-19T01:49:59Z</dcterms:modified>
</cp:coreProperties>
</file>